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3" d="100"/>
          <a:sy n="73" d="100"/>
        </p:scale>
        <p:origin x="58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err="1" smtClean="0"/>
              <a:t>InsideSherpa</a:t>
            </a:r>
            <a:r>
              <a:rPr lang="en-AU" dirty="0" smtClean="0"/>
              <a:t> Internship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Deloitte  - Introduction to TSA – Cloud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26542" y="1129211"/>
            <a:ext cx="4536000" cy="447390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 </a:t>
            </a:r>
            <a:endParaRPr lang="en-AU" sz="1400" spc="-25" noProof="0" dirty="0">
              <a:solidFill>
                <a:srgbClr val="000000"/>
              </a:solidFill>
            </a:endParaRPr>
          </a:p>
          <a:p>
            <a:pPr marL="285750" marR="0" lvl="0" indent="-28575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AU" sz="1400" kern="0" spc="-25" noProof="0" dirty="0" smtClean="0"/>
              <a:t>Cloud computing is one of on-demand delivery of IT resources over the internet.</a:t>
            </a:r>
          </a:p>
          <a:p>
            <a:pPr marL="285750" lvl="0" indent="-285750" algn="just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AU" sz="1400" i="0" u="none" strike="noStrike" kern="0" cap="none" spc="-25" normalizeH="0" baseline="0" dirty="0" smtClean="0">
                <a:ln>
                  <a:noFill/>
                </a:ln>
                <a:effectLst/>
                <a:uLnTx/>
                <a:uFillTx/>
              </a:rPr>
              <a:t>Instead</a:t>
            </a:r>
            <a:r>
              <a:rPr kumimoji="0" lang="en-AU" sz="1400" i="0" u="none" strike="noStrike" kern="0" cap="none" spc="-25" normalizeH="0" dirty="0" smtClean="0">
                <a:ln>
                  <a:noFill/>
                </a:ln>
                <a:effectLst/>
                <a:uLnTx/>
                <a:uFillTx/>
              </a:rPr>
              <a:t> of buying, owning and maintaining a physica</a:t>
            </a:r>
            <a:r>
              <a:rPr lang="en-AU" sz="1400" kern="0" spc="-25" dirty="0" smtClean="0"/>
              <a:t>l data centre and servers, we can access technology </a:t>
            </a:r>
            <a:r>
              <a:rPr lang="en-US" sz="1600" dirty="0"/>
              <a:t>such as computing power, storage, and databases, on an as-needed basis from a cloud </a:t>
            </a:r>
            <a:r>
              <a:rPr lang="en-US" sz="1600" dirty="0" smtClean="0"/>
              <a:t>provider</a:t>
            </a:r>
          </a:p>
          <a:p>
            <a:pPr marL="285750" lvl="0" indent="-285750" algn="just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Some of the companies</a:t>
            </a:r>
            <a:r>
              <a:rPr kumimoji="0" lang="en-US" sz="16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providing cloud computing servers are – </a:t>
            </a:r>
          </a:p>
          <a:p>
            <a:pPr lvl="0" algn="just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 noProof="0" dirty="0" smtClean="0"/>
              <a:t>      1. </a:t>
            </a:r>
            <a:r>
              <a:rPr lang="en-US" sz="1600" kern="0" dirty="0" smtClean="0"/>
              <a:t>Amazon Web Services (AWS)</a:t>
            </a:r>
          </a:p>
          <a:p>
            <a:pPr lvl="0" algn="just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    2. Microsoft Azure</a:t>
            </a:r>
          </a:p>
          <a:p>
            <a:pPr lvl="0" algn="just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 dirty="0"/>
              <a:t> </a:t>
            </a:r>
            <a:r>
              <a:rPr lang="en-US" sz="1600" kern="0" dirty="0" smtClean="0"/>
              <a:t>     3. Google Cloud Platform</a:t>
            </a:r>
          </a:p>
          <a:p>
            <a:pPr lvl="0" algn="just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en-US" sz="16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6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    4. IBM</a:t>
            </a:r>
            <a:endParaRPr kumimoji="0" lang="en-AU" sz="16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26171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b="1" spc="-25" dirty="0">
                <a:solidFill>
                  <a:srgbClr val="86BC25"/>
                </a:solidFill>
                <a:cs typeface="Verdana"/>
              </a:rPr>
              <a:t>Cloud Characteristics </a:t>
            </a:r>
            <a:endParaRPr lang="en-US" sz="1400" spc="-25" dirty="0">
              <a:solidFill>
                <a:srgbClr val="000000"/>
              </a:solidFill>
              <a:cs typeface="Verdana"/>
            </a:endParaRP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AutoNum type="arabicPeriod"/>
            </a:pPr>
            <a:r>
              <a:rPr lang="en-US" sz="1400" dirty="0" smtClean="0"/>
              <a:t>On-demand </a:t>
            </a:r>
            <a:r>
              <a:rPr lang="en-US" sz="1400" b="1" dirty="0"/>
              <a:t>self</a:t>
            </a:r>
            <a:r>
              <a:rPr lang="en-US" sz="1400" dirty="0"/>
              <a:t>-service. Cloud computing resources can be provisioned without human interaction from the service </a:t>
            </a:r>
            <a:r>
              <a:rPr lang="en-US" sz="1400" dirty="0" smtClean="0"/>
              <a:t>provider</a:t>
            </a:r>
            <a:r>
              <a:rPr lang="en-US" sz="1400" b="1" spc="-25" dirty="0" smtClean="0">
                <a:solidFill>
                  <a:srgbClr val="86BC25"/>
                </a:solidFill>
              </a:rPr>
              <a:t>.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AutoNum type="arabicPeriod"/>
            </a:pPr>
            <a:r>
              <a:rPr lang="en-IN" sz="1400" dirty="0"/>
              <a:t>Broad network </a:t>
            </a:r>
            <a:r>
              <a:rPr lang="en-IN" sz="1400" dirty="0" smtClean="0"/>
              <a:t>access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AutoNum type="arabicPeriod"/>
            </a:pPr>
            <a:r>
              <a:rPr lang="en-IN" sz="1400" dirty="0"/>
              <a:t>Multi-tenancy and resource pooling</a:t>
            </a:r>
            <a:r>
              <a:rPr lang="en-IN" sz="1400" dirty="0" smtClean="0"/>
              <a:t>.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AutoNum type="arabicPeriod"/>
            </a:pPr>
            <a:r>
              <a:rPr lang="en-IN" sz="1400" dirty="0"/>
              <a:t>Rapid elasticity and scalability</a:t>
            </a:r>
            <a:r>
              <a:rPr lang="en-IN" sz="1400" dirty="0" smtClean="0"/>
              <a:t>.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AutoNum type="arabicPeriod"/>
            </a:pPr>
            <a:r>
              <a:rPr lang="en-IN" sz="1400" dirty="0"/>
              <a:t>Measured service.</a:t>
            </a:r>
            <a:endParaRPr lang="en-US" sz="140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6534919" y="4018141"/>
            <a:ext cx="4725264" cy="17081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chemeClr val="accent1"/>
                </a:solidFill>
              </a:rPr>
              <a:t>Capabilities offered by Cloud Computing</a:t>
            </a:r>
          </a:p>
          <a:p>
            <a:pPr algn="just">
              <a:spcBef>
                <a:spcPts val="600"/>
              </a:spcBef>
              <a:buSzPct val="100000"/>
            </a:pPr>
            <a:r>
              <a:rPr lang="en-US" sz="1500" dirty="0"/>
              <a:t>Considering the advantages and domains of </a:t>
            </a:r>
            <a:r>
              <a:rPr lang="en-US" sz="1500" b="1" dirty="0"/>
              <a:t>cloud computing</a:t>
            </a:r>
            <a:r>
              <a:rPr lang="en-US" sz="1500" dirty="0"/>
              <a:t>, such as cost, security and confidentiality, scalability, mutual performance and interoperability, implementation platform and independence, search ability and exploration, reducing errors and improving the quality, structure, flexibility and sharing</a:t>
            </a:r>
            <a:endParaRPr lang="en-IN" sz="1500" dirty="0" smtClean="0"/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149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Frutiger Next Pro Light</vt:lpstr>
      <vt:lpstr>Open Sans</vt:lpstr>
      <vt:lpstr>Verdana</vt:lpstr>
      <vt:lpstr>Deloitte_4_3_Onscreen</vt:lpstr>
      <vt:lpstr>think-cell Slide</vt:lpstr>
      <vt:lpstr>Deloitte  - Introduction to TSA – Cloud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Shivam Shekhar</cp:lastModifiedBy>
  <cp:revision>11</cp:revision>
  <dcterms:created xsi:type="dcterms:W3CDTF">2019-03-31T19:26:34Z</dcterms:created>
  <dcterms:modified xsi:type="dcterms:W3CDTF">2020-05-13T13:23:31Z</dcterms:modified>
</cp:coreProperties>
</file>